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12"/>
  </p:notesMasterIdLst>
  <p:sldIdLst>
    <p:sldId id="702" r:id="rId2"/>
    <p:sldId id="787" r:id="rId3"/>
    <p:sldId id="763" r:id="rId4"/>
    <p:sldId id="699" r:id="rId5"/>
    <p:sldId id="782" r:id="rId6"/>
    <p:sldId id="785" r:id="rId7"/>
    <p:sldId id="784" r:id="rId8"/>
    <p:sldId id="783" r:id="rId9"/>
    <p:sldId id="781" r:id="rId10"/>
    <p:sldId id="780" r:id="rId11"/>
  </p:sldIdLst>
  <p:sldSz cx="9906000" cy="6858000" type="A4"/>
  <p:notesSz cx="6797675" cy="9874250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62" userDrawn="1">
          <p15:clr>
            <a:srgbClr val="A4A3A4"/>
          </p15:clr>
        </p15:guide>
        <p15:guide id="3" pos="5932" userDrawn="1">
          <p15:clr>
            <a:srgbClr val="A4A3A4"/>
          </p15:clr>
        </p15:guide>
        <p15:guide id="4" orient="horz" pos="2183" userDrawn="1">
          <p15:clr>
            <a:srgbClr val="A4A3A4"/>
          </p15:clr>
        </p15:guide>
        <p15:guide id="5" orient="horz" pos="3816" userDrawn="1">
          <p15:clr>
            <a:srgbClr val="A4A3A4"/>
          </p15:clr>
        </p15:guide>
        <p15:guide id="7" pos="1646" userDrawn="1">
          <p15:clr>
            <a:srgbClr val="A4A3A4"/>
          </p15:clr>
        </p15:guide>
        <p15:guide id="8" pos="49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6487"/>
    <a:srgbClr val="004A8F"/>
    <a:srgbClr val="008000"/>
    <a:srgbClr val="378537"/>
    <a:srgbClr val="879DB3"/>
    <a:srgbClr val="E8EBF0"/>
    <a:srgbClr val="74A5CD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13" autoAdjust="0"/>
    <p:restoredTop sz="84060" autoAdjust="0"/>
  </p:normalViewPr>
  <p:slideViewPr>
    <p:cSldViewPr snapToGrid="0">
      <p:cViewPr varScale="1">
        <p:scale>
          <a:sx n="112" d="100"/>
          <a:sy n="112" d="100"/>
        </p:scale>
        <p:origin x="1662" y="114"/>
      </p:cViewPr>
      <p:guideLst>
        <p:guide pos="262"/>
        <p:guide pos="5932"/>
        <p:guide orient="horz" pos="2183"/>
        <p:guide orient="horz" pos="3816"/>
        <p:guide pos="1646"/>
        <p:guide pos="49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8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E8285D-5DB1-4661-9068-FA959D0140A5}" type="datetimeFigureOut">
              <a:rPr lang="ru-RU" smtClean="0"/>
              <a:pPr/>
              <a:t>23.09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665D83-0C31-488C-BEBA-14EAD149065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2509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665D83-0C31-488C-BEBA-14EAD149065B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578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9475" name="Picture 3" descr="C:\Users\ANagornyy\Desktop\АО САТУРН\Пресс-секретарь\photo\asdSilenc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80" y="641007"/>
            <a:ext cx="1301967" cy="1050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5315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1621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4" y="295275"/>
            <a:ext cx="9113839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344488" y="6022553"/>
            <a:ext cx="9145587" cy="358775"/>
          </a:xfrm>
        </p:spPr>
        <p:txBody>
          <a:bodyPr/>
          <a:lstStyle>
            <a:lvl1pPr marL="0" indent="0">
              <a:buNone/>
              <a:defRPr lang="ru-RU" sz="1800" b="1" kern="12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5735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14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482" y="295275"/>
            <a:ext cx="9113839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121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4" y="2924944"/>
            <a:ext cx="9113839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Приложения</a:t>
            </a:r>
          </a:p>
        </p:txBody>
      </p:sp>
    </p:spTree>
    <p:extLst>
      <p:ext uri="{BB962C8B-B14F-4D97-AF65-F5344CB8AC3E}">
        <p14:creationId xmlns:p14="http://schemas.microsoft.com/office/powerpoint/2010/main" val="1006126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0" y="0"/>
            <a:ext cx="9050868" cy="254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75762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9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4" y="295275"/>
            <a:ext cx="8477705" cy="49688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0914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70633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4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9725" y="979492"/>
            <a:ext cx="9112250" cy="476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Щелчок правит 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49155" name="Rectangle 3"/>
          <p:cNvSpPr>
            <a:spLocks noChangeArrowheads="1"/>
          </p:cNvSpPr>
          <p:nvPr/>
        </p:nvSpPr>
        <p:spPr bwMode="auto">
          <a:xfrm>
            <a:off x="9448800" y="6578600"/>
            <a:ext cx="41275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96D9F662-B974-406E-A119-F4A3F9A9C327}" type="slidenum">
              <a:rPr lang="en-US" sz="1200">
                <a:solidFill>
                  <a:prstClr val="black"/>
                </a:solidFill>
                <a:ea typeface="ＭＳ Ｐゴシック" pitchFamily="-110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dirty="0">
              <a:solidFill>
                <a:prstClr val="black"/>
              </a:solidFill>
              <a:ea typeface="ＭＳ Ｐゴシック" pitchFamily="-110" charset="-128"/>
            </a:endParaRP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39724" y="295275"/>
            <a:ext cx="9113839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36744" name="Picture 904" descr="C:\Users\ANagornyy\Desktop\АО САТУРН\Пресс-секретарь\photo\asdSilence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6225" y="130760"/>
            <a:ext cx="625150" cy="504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3824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9" r:id="rId4"/>
    <p:sldLayoutId id="2147483680" r:id="rId5"/>
    <p:sldLayoutId id="2147483684" r:id="rId6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ＭＳ Ｐゴシック" pitchFamily="-110" charset="-128"/>
          <a:cs typeface="ＭＳ Ｐゴシック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  <a:ea typeface="ＭＳ Ｐゴシック" pitchFamily="-110" charset="-128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B6487"/>
          </a:solidFill>
          <a:latin typeface="Times New Roman" pitchFamily="18" charset="0"/>
        </a:defRPr>
      </a:lvl9pPr>
    </p:titleStyle>
    <p:bodyStyle>
      <a:lvl1pPr marL="271463" indent="-2714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1pPr>
      <a:lvl2pPr marL="6318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Times New Roman" pitchFamily="18" charset="0"/>
        <a:buChar char="–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2pPr>
      <a:lvl3pPr marL="12319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3pPr>
      <a:lvl4pPr marL="1639888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4pPr>
      <a:lvl5pPr marL="20478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  <a:ea typeface="ＭＳ Ｐゴシック" pitchFamily="-110" charset="-128"/>
          <a:cs typeface="ＭＳ Ｐゴシック"/>
        </a:defRPr>
      </a:lvl5pPr>
      <a:lvl6pPr marL="25050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6pPr>
      <a:lvl7pPr marL="29622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7pPr>
      <a:lvl8pPr marL="34194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8pPr>
      <a:lvl9pPr marL="3876675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ü"/>
        <a:defRPr sz="1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13.xml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11" Type="http://schemas.openxmlformats.org/officeDocument/2006/relationships/image" Target="../media/image22.jpe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1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9.xml"/><Relationship Id="rId7" Type="http://schemas.openxmlformats.org/officeDocument/2006/relationships/oleObject" Target="../embeddings/oleObject6.bin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282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sz="2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ＭＳ Ｐゴシック" panose="020B0600070205080204" pitchFamily="34" charset="-128"/>
              <a:sym typeface="Times New Roman" panose="02020603050405020304" pitchFamily="18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 idx="4294967295"/>
          </p:nvPr>
        </p:nvSpPr>
        <p:spPr>
          <a:xfrm>
            <a:off x="857861" y="5044454"/>
            <a:ext cx="8694964" cy="1623542"/>
          </a:xfrm>
        </p:spPr>
        <p:txBody>
          <a:bodyPr/>
          <a:lstStyle/>
          <a:p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INVESTMENT OPPORTUNITY: sale of production and warehouse complex at the address: </a:t>
            </a:r>
            <a:r>
              <a:rPr lang="en-US" dirty="0" err="1" smtClean="0">
                <a:latin typeface="Aharoni" panose="02010803020104030203" pitchFamily="2" charset="-79"/>
                <a:cs typeface="Aharoni" panose="02010803020104030203" pitchFamily="2" charset="-79"/>
              </a:rPr>
              <a:t>moscow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 region, </a:t>
            </a:r>
            <a:r>
              <a:rPr lang="en-US" dirty="0" err="1" smtClean="0">
                <a:latin typeface="Aharoni" panose="02010803020104030203" pitchFamily="2" charset="-79"/>
                <a:cs typeface="Aharoni" panose="02010803020104030203" pitchFamily="2" charset="-79"/>
              </a:rPr>
              <a:t>lyubertsy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 district, village </a:t>
            </a:r>
            <a:r>
              <a:rPr lang="en-US" dirty="0" err="1" smtClean="0">
                <a:latin typeface="Aharoni" panose="02010803020104030203" pitchFamily="2" charset="-79"/>
                <a:cs typeface="Aharoni" panose="02010803020104030203" pitchFamily="2" charset="-79"/>
              </a:rPr>
              <a:t>tokarevo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, building </a:t>
            </a:r>
            <a:r>
              <a:rPr lang="en-US" sz="3200" dirty="0" smtClean="0">
                <a:latin typeface="Aharoni" panose="02010803020104030203" pitchFamily="2" charset="-79"/>
                <a:cs typeface="Aharoni" panose="02010803020104030203" pitchFamily="2" charset="-79"/>
              </a:rPr>
              <a:t>1.</a:t>
            </a:r>
            <a:endParaRPr lang="ru-RU" sz="3200" dirty="0">
              <a:cs typeface="Aharoni" panose="02010803020104030203" pitchFamily="2" charset="-79"/>
            </a:endParaRPr>
          </a:p>
        </p:txBody>
      </p:sp>
      <p:pic>
        <p:nvPicPr>
          <p:cNvPr id="415995" name="Picture 251" descr="C:\Users\ANagornyy\Desktop\asd\IMG_0322 - копия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750" y="1779586"/>
            <a:ext cx="8350250" cy="32648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3783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795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5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ＭＳ Ｐゴシック" panose="020B0600070205080204" pitchFamily="34" charset="-128"/>
              <a:sym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249587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1036" y="817156"/>
            <a:ext cx="219691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Office rooms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3380229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6518963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55677" y="821915"/>
            <a:ext cx="203928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Outdoor area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248239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11739" y="3587988"/>
            <a:ext cx="141128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Building 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it.O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88476" name="Picture 28" descr="C:\Users\ANagornyy\Desktop\asd\IMG_034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52" y="1124933"/>
            <a:ext cx="2876146" cy="215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477" name="Picture 29" descr="C:\Users\ANagornyy\Desktop\asd\IMG_0344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925" y="1124933"/>
            <a:ext cx="2876146" cy="2157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478" name="Picture 30" descr="C:\Users\ANagornyy\Desktop\asd\IMG_0317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5677" y="1129692"/>
            <a:ext cx="2869803" cy="2152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479" name="Picture 31" descr="C:\Users\ANagornyy\Desktop\asd\IMG_0333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52" y="4007548"/>
            <a:ext cx="2825242" cy="211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 bwMode="auto">
          <a:xfrm>
            <a:off x="3376998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13712" y="3623732"/>
            <a:ext cx="1873628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Warehouse 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VZh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 lit. K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6518963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5677" y="3623732"/>
            <a:ext cx="141128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Warehouse </a:t>
            </a:r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lit.L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88501" name="Picture 53" descr="C:\Users\ANagornyy\Desktop\АО САТУРН\Пресс-секретарь\Токарево\photo\лит.Л\IMG_0321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5676" y="3931509"/>
            <a:ext cx="2869803" cy="2152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8505" name="Picture 57" descr="C:\Users\ANagornyy\Desktop\АО САТУРН\Пресс-секретарь\Токарево\photo\rti\lvj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926" y="3931509"/>
            <a:ext cx="2876146" cy="2194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248239" y="379991"/>
            <a:ext cx="9520991" cy="50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ＭＳ Ｐゴシック" pitchFamily="-110" charset="-128"/>
                <a:cs typeface="ＭＳ Ｐゴシック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r>
              <a:rPr lang="en-US" kern="0" dirty="0"/>
              <a:t>Appendix </a:t>
            </a:r>
            <a:r>
              <a:rPr lang="ru-RU" kern="0" dirty="0" smtClean="0"/>
              <a:t>2</a:t>
            </a:r>
            <a:r>
              <a:rPr lang="en-US" kern="0" dirty="0" smtClean="0"/>
              <a:t>. </a:t>
            </a:r>
            <a:r>
              <a:rPr lang="en-US" kern="0" dirty="0"/>
              <a:t>Photo.</a:t>
            </a:r>
            <a:endParaRPr lang="ru-RU" kern="0" dirty="0"/>
          </a:p>
        </p:txBody>
      </p:sp>
      <p:sp>
        <p:nvSpPr>
          <p:cNvPr id="26" name="TextBox 25"/>
          <p:cNvSpPr txBox="1"/>
          <p:nvPr/>
        </p:nvSpPr>
        <p:spPr>
          <a:xfrm>
            <a:off x="3584042" y="823270"/>
            <a:ext cx="219691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Office rooms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9377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6570" y="173289"/>
            <a:ext cx="9113839" cy="496888"/>
          </a:xfrm>
        </p:spPr>
        <p:txBody>
          <a:bodyPr/>
          <a:lstStyle/>
          <a:p>
            <a:r>
              <a:rPr lang="en-US" sz="2800" dirty="0">
                <a:latin typeface="Aharoni" panose="02010803020104030203" pitchFamily="2" charset="-79"/>
                <a:cs typeface="Aharoni" panose="02010803020104030203" pitchFamily="2" charset="-79"/>
              </a:rPr>
              <a:t>The main parameters of the Object</a:t>
            </a:r>
            <a:endParaRPr lang="ru-RU" sz="2800" dirty="0">
              <a:cs typeface="Aharoni" panose="02010803020104030203" pitchFamily="2" charset="-79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6570" y="885070"/>
            <a:ext cx="454400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Production and warehouse complex at the address: Moscow region, </a:t>
            </a:r>
            <a:r>
              <a:rPr lang="en-US" sz="1600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yubertsy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 district, </a:t>
            </a:r>
            <a:r>
              <a:rPr lang="en-US" sz="1600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Tokarevo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 village, building 1. 11 capital buildings with a total area of ​​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5 510.8 </a:t>
            </a:r>
            <a:r>
              <a:rPr lang="en-US" sz="160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in the property. Land plot with an area of 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​​34 111 </a:t>
            </a:r>
            <a:r>
              <a:rPr lang="en-US" sz="160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.  in the property. Land characteristics land category: lands of settlements. 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cadastral number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: 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50: 22: 0040514: 30.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 total area: </a:t>
            </a:r>
            <a:r>
              <a:rPr lang="en-US" sz="160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34 111 </a:t>
            </a:r>
            <a:r>
              <a:rPr lang="en-US" sz="160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600" dirty="0">
                <a:latin typeface="Century Schoolbook" panose="02040604050505020304" pitchFamily="18" charset="0"/>
                <a:cs typeface="Aharoni" panose="02010803020104030203" pitchFamily="2" charset="-79"/>
              </a:rPr>
              <a:t>. permitted use: for production activities. The soil in the territory is represented by cover loam, sandy moraine, loamy moraine. The soil, according to the mechanical composition, is light loamy, moisture-intensive, has a low absorption capacity. Usage Profile Storage of goods, production of specialized products, rental. Communications Well with a water tower, heating, electricity (permissible power up to 85 kW), own gas network, Internet, fire alarm.</a:t>
            </a:r>
            <a:endParaRPr lang="ru-RU" sz="1600" dirty="0">
              <a:latin typeface="Century Schoolbook" panose="02040604050505020304" pitchFamily="18" charset="0"/>
              <a:cs typeface="Aharoni" panose="02010803020104030203" pitchFamily="2" charset="-79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28209" y="745910"/>
            <a:ext cx="4544009" cy="587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Building Characteristics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A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2-storey, brick, 1987, area 1994.3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11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B: non-residential, Warehouse, brick, 1984, area 712.4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1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V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Boiler room, reinforced concrete slabs, 1984, area 87.3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2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D: non-residential, Workshops, brick, 1962, area 229.9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3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E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Warehouse-barracks, reinforced concrete slabs, 1962, area 467.1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4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F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Garage with a boiler room, brick, 1962, area 465.6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5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K: non-residential, LVZH Warehouse, reinforced concrete slabs, 1984, area 84.3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6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L: non-residential, Finished goods warehouse, metal structures, 1984, area 468.6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7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N, N1: non-residential, Checkpoint, reinforced concrete slabs, 1984, area 54.1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9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Lit.O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: non-residential, Assembly and procurement section, metal structures, 1984, area 495.7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10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G4: non-residential, Plot of mechanization, metal construction, 1984, area 61.7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-50-22 / 068 / 2010-197)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 lit. M: non-residential, Hangar, metal, 1984, area 451.5 </a:t>
            </a:r>
            <a:r>
              <a:rPr lang="en-US" sz="1050" b="1" dirty="0" err="1">
                <a:latin typeface="Century Schoolbook" panose="02040604050505020304" pitchFamily="18" charset="0"/>
                <a:cs typeface="Aharoni" panose="02010803020104030203" pitchFamily="2" charset="-79"/>
              </a:rPr>
              <a:t>sq.m</a:t>
            </a:r>
            <a:r>
              <a:rPr lang="en-US" sz="1050" b="1" dirty="0">
                <a:latin typeface="Century Schoolbook" panose="02040604050505020304" pitchFamily="18" charset="0"/>
                <a:cs typeface="Aharoni" panose="02010803020104030203" pitchFamily="2" charset="-79"/>
              </a:rPr>
              <a:t>.  (frame number 50: 22: 04: 02661: 008)</a:t>
            </a:r>
            <a:endParaRPr lang="ru-RU" sz="1050" dirty="0">
              <a:latin typeface="Century Schoolbook" panose="02040604050505020304" pitchFamily="18" charset="0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3899620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929" y="746782"/>
            <a:ext cx="8288070" cy="5585652"/>
          </a:xfrm>
          <a:prstGeom prst="rect">
            <a:avLst/>
          </a:prstGeom>
        </p:spPr>
      </p:pic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7611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ＭＳ Ｐゴシック" panose="020B0600070205080204" pitchFamily="34" charset="-128"/>
              <a:sym typeface="Times New Roman" panose="02020603050405020304" pitchFamily="18" charset="0"/>
            </a:endParaRPr>
          </a:p>
        </p:txBody>
      </p:sp>
      <p:sp>
        <p:nvSpPr>
          <p:cNvPr id="44" name="Text Box 5"/>
          <p:cNvSpPr txBox="1">
            <a:spLocks noChangeArrowheads="1"/>
          </p:cNvSpPr>
          <p:nvPr/>
        </p:nvSpPr>
        <p:spPr bwMode="auto">
          <a:xfrm>
            <a:off x="399544" y="5710134"/>
            <a:ext cx="9032877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/>
          <a:lstStyle>
            <a:lvl1pPr>
              <a:defRPr sz="16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16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16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16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16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/>
            <a:r>
              <a:rPr lang="en-US" altLang="ru-RU" sz="2000" dirty="0">
                <a:solidFill>
                  <a:srgbClr val="00206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xcellent transport accessibility of the object: the proximity of major highways, convenient access and the possibility of parking.</a:t>
            </a:r>
            <a:endParaRPr lang="ru-RU" altLang="ru-RU" sz="2000" dirty="0">
              <a:solidFill>
                <a:srgbClr val="002060"/>
              </a:solidFill>
              <a:latin typeface="+mj-lt"/>
              <a:cs typeface="Aharoni" panose="02010803020104030203" pitchFamily="2" charset="-79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9723" y="249894"/>
            <a:ext cx="8804276" cy="496888"/>
          </a:xfrm>
        </p:spPr>
        <p:txBody>
          <a:bodyPr/>
          <a:lstStyle/>
          <a:p>
            <a:r>
              <a:rPr lang="en-US" sz="3600" dirty="0">
                <a:latin typeface="Aharoni" panose="02010803020104030203" pitchFamily="2" charset="-79"/>
                <a:cs typeface="Aharoni" panose="02010803020104030203" pitchFamily="2" charset="-79"/>
              </a:rPr>
              <a:t>1. </a:t>
            </a: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The location of the production and warehouse complex</a:t>
            </a:r>
            <a:endParaRPr lang="ru-RU" dirty="0">
              <a:cs typeface="Aharoni" panose="02010803020104030203" pitchFamily="2" charset="-79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rgbClr val="3B6487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5457770" y="3287017"/>
            <a:ext cx="325296" cy="289152"/>
          </a:xfrm>
          <a:prstGeom prst="rect">
            <a:avLst/>
          </a:prstGeom>
        </p:spPr>
      </p:pic>
      <p:cxnSp>
        <p:nvCxnSpPr>
          <p:cNvPr id="21" name="Прямая со стрелкой 20"/>
          <p:cNvCxnSpPr/>
          <p:nvPr/>
        </p:nvCxnSpPr>
        <p:spPr bwMode="auto">
          <a:xfrm>
            <a:off x="5464435" y="4817720"/>
            <a:ext cx="637262" cy="660134"/>
          </a:xfrm>
          <a:prstGeom prst="straightConnector1">
            <a:avLst/>
          </a:prstGeom>
          <a:noFill/>
          <a:ln w="5715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35482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382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ru-RU" sz="2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ＭＳ Ｐゴシック" panose="020B0600070205080204" pitchFamily="34" charset="-128"/>
              <a:sym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0818" y="373644"/>
            <a:ext cx="9113839" cy="496888"/>
          </a:xfrm>
        </p:spPr>
        <p:txBody>
          <a:bodyPr/>
          <a:lstStyle/>
          <a:p>
            <a:r>
              <a:rPr lang="en-US" sz="3200" dirty="0">
                <a:latin typeface="Aharoni" panose="02010803020104030203" pitchFamily="2" charset="-79"/>
                <a:cs typeface="Aharoni" panose="02010803020104030203" pitchFamily="2" charset="-79"/>
              </a:rPr>
              <a:t>2. </a:t>
            </a: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Key advantages of the production complex</a:t>
            </a:r>
            <a:endParaRPr lang="ru-RU" dirty="0">
              <a:cs typeface="Aharoni" panose="02010803020104030203" pitchFamily="2" charset="-79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339723" y="1028700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1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39723" y="1787011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2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339723" y="2550842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3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339723" y="3311913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4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339723" y="4072984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5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339723" y="4834053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6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1181099" y="1031648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1181098" y="1788484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81098" y="1181201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Possibility of use for the organization of production and for storage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1181097" y="2555934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181095" y="1938037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Ability to use both for your own business and for renting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1181095" y="3302858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81094" y="2610762"/>
            <a:ext cx="85153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xcellent transport accessibility (2 km to </a:t>
            </a:r>
            <a:r>
              <a:rPr lang="en-US" sz="1600" b="1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Novoryazanskoe</a:t>
            </a:r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highway, 13 km to the Moscow Ring Road)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1181095" y="4075931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1181096" y="4229100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Power given out by the transformer (100 kW)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1181096" y="4835992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339723" y="5631506"/>
            <a:ext cx="660402" cy="640607"/>
          </a:xfrm>
          <a:prstGeom prst="rect">
            <a:avLst/>
          </a:prstGeom>
          <a:noFill/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rgbClr val="3B6487"/>
                </a:solidFill>
                <a:effectLst/>
                <a:latin typeface="Times New Roman" pitchFamily="18" charset="0"/>
              </a:rPr>
              <a:t>7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1181096" y="5633445"/>
            <a:ext cx="8515349" cy="637660"/>
          </a:xfrm>
          <a:prstGeom prst="rect">
            <a:avLst/>
          </a:prstGeom>
          <a:solidFill>
            <a:srgbClr val="3B6487"/>
          </a:solidFill>
          <a:ln w="1270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181095" y="4985079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Extensive private territory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81095" y="5769353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аличие собственной котельной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81094" y="3396403"/>
            <a:ext cx="85153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The land is flat, without significant changes in relief, the territory is partially paved, fenced, lit.</a:t>
            </a:r>
            <a:endParaRPr lang="ru-RU" sz="16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815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ANagornyy\Desktop\Токарево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77" y="760770"/>
            <a:ext cx="8014798" cy="5878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 smtClean="0">
                <a:latin typeface="Aharoni" panose="02010803020104030203" pitchFamily="2" charset="-79"/>
                <a:cs typeface="Aharoni" panose="02010803020104030203" pitchFamily="2" charset="-79"/>
              </a:rPr>
              <a:t>3. 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Plan-scheme</a:t>
            </a:r>
            <a:endParaRPr lang="ru-RU" dirty="0">
              <a:cs typeface="Aharoni" panose="02010803020104030203" pitchFamily="2" charset="-79"/>
            </a:endParaRPr>
          </a:p>
        </p:txBody>
      </p:sp>
      <p:sp>
        <p:nvSpPr>
          <p:cNvPr id="4" name="Овал 3"/>
          <p:cNvSpPr/>
          <p:nvPr/>
        </p:nvSpPr>
        <p:spPr bwMode="auto">
          <a:xfrm>
            <a:off x="1587341" y="1814511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61147" y="1795072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Д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6784975" y="1386661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58781" y="1367222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Б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7614913" y="3296283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69668" y="3277232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Ж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11" name="Овал 10"/>
          <p:cNvSpPr/>
          <p:nvPr/>
        </p:nvSpPr>
        <p:spPr bwMode="auto">
          <a:xfrm>
            <a:off x="4789965" y="3519061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763771" y="3499622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Л</a:t>
            </a:r>
          </a:p>
        </p:txBody>
      </p:sp>
      <p:sp>
        <p:nvSpPr>
          <p:cNvPr id="13" name="Овал 12"/>
          <p:cNvSpPr/>
          <p:nvPr/>
        </p:nvSpPr>
        <p:spPr bwMode="auto">
          <a:xfrm>
            <a:off x="3171425" y="3109912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45231" y="3090473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К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15" name="Овал 14"/>
          <p:cNvSpPr/>
          <p:nvPr/>
        </p:nvSpPr>
        <p:spPr bwMode="auto">
          <a:xfrm>
            <a:off x="1958023" y="5878512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31829" y="5859073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А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17" name="Овал 16"/>
          <p:cNvSpPr/>
          <p:nvPr/>
        </p:nvSpPr>
        <p:spPr bwMode="auto">
          <a:xfrm>
            <a:off x="3540126" y="4599765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513932" y="4580326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О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19" name="Овал 18"/>
          <p:cNvSpPr/>
          <p:nvPr/>
        </p:nvSpPr>
        <p:spPr bwMode="auto">
          <a:xfrm>
            <a:off x="4763770" y="4995826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737576" y="4976387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В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21" name="Овал 20"/>
          <p:cNvSpPr/>
          <p:nvPr/>
        </p:nvSpPr>
        <p:spPr bwMode="auto">
          <a:xfrm>
            <a:off x="5925345" y="4950637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866608" y="4931198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М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23" name="Овал 22"/>
          <p:cNvSpPr/>
          <p:nvPr/>
        </p:nvSpPr>
        <p:spPr bwMode="auto">
          <a:xfrm>
            <a:off x="6678137" y="4876765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651943" y="4857326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Е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25" name="Овал 24"/>
          <p:cNvSpPr/>
          <p:nvPr/>
        </p:nvSpPr>
        <p:spPr bwMode="auto">
          <a:xfrm>
            <a:off x="2740026" y="1193866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713832" y="1174427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Н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27" name="Овал 26"/>
          <p:cNvSpPr/>
          <p:nvPr/>
        </p:nvSpPr>
        <p:spPr bwMode="auto">
          <a:xfrm>
            <a:off x="7688732" y="5341163"/>
            <a:ext cx="233362" cy="238125"/>
          </a:xfrm>
          <a:prstGeom prst="ellipse">
            <a:avLst/>
          </a:prstGeom>
          <a:solidFill>
            <a:schemeClr val="bg2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662538" y="5321724"/>
            <a:ext cx="185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otype Corsiva" panose="03010101010201010101" pitchFamily="66" charset="0"/>
              </a:rPr>
              <a:t>Г</a:t>
            </a:r>
            <a:endParaRPr lang="ru-RU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onotype Corsiva" panose="03010101010201010101" pitchFamily="66" charset="0"/>
            </a:endParaRP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4040516" y="3486149"/>
            <a:ext cx="431911" cy="184924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3275210" y="3924299"/>
            <a:ext cx="1107679" cy="30811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3937198" y="4141928"/>
            <a:ext cx="382389" cy="9763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1207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Заголовок 1"/>
          <p:cNvSpPr txBox="1">
            <a:spLocks/>
          </p:cNvSpPr>
          <p:nvPr/>
        </p:nvSpPr>
        <p:spPr bwMode="auto">
          <a:xfrm>
            <a:off x="224131" y="332374"/>
            <a:ext cx="9102561" cy="50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ＭＳ Ｐゴシック" pitchFamily="-110" charset="-128"/>
                <a:cs typeface="ＭＳ Ｐゴシック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endParaRPr lang="ru-RU" kern="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07345" y="3135899"/>
            <a:ext cx="93553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he object is supplied with heat from a gas boiler designed to provide heat to heating systems and hot water.  Boilers: 3 Mighty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Therm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HH-1200 boilers, power 284.8 kW each.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Thermal loads on the boiler room are: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Heating.  Heat carrier T = 95-70 ° C.  The amount of heat is 0.386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Gcal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/ hour.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Hot water supply.  Hot water T = 60 ° C.  The amount of heat is 0.082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Gcal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/ hour.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Fuel is natural gas.  The maximum hourly gas flow rate is 97.2 m³ / h.</a:t>
            </a:r>
          </a:p>
          <a:p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The gas supply agreement of Gazprom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Mezhregiongaz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Moscow LLC No. 61-8-0850 / 13 of 10.25.2012.  The annual volume of gas supply is 165.876 thousand m³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37464" y="4948092"/>
            <a:ext cx="9355344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he water intake unit includes one production well No. 1 / GVK-46211447 (license MSK 02134 VE dated 01.26.2009), one water tower (12m³), water supply network.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Allowed water consumption is 3 cubic meters / day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37464" y="5896346"/>
            <a:ext cx="93553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he sewer system is made by cesspool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On the territory there are 3 underground metal tanks for collecting concrete goods connected with the sanitary units of the complex (1 - 27m³; 2 - 12m³; 3 - 8m³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 Export and disposal are carried out by the company “Formula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Ecologii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”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207368" y="5857847"/>
            <a:ext cx="9365376" cy="857278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7050" y="5630619"/>
            <a:ext cx="236707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Sewage system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207368" y="4948092"/>
            <a:ext cx="9365376" cy="724577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7409" y="4705559"/>
            <a:ext cx="14912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Water 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supply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207368" y="3070860"/>
            <a:ext cx="9365376" cy="1634699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91497" y="2828122"/>
            <a:ext cx="156310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Heat supply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227432" y="746760"/>
            <a:ext cx="9365376" cy="2141220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4637" y="582672"/>
            <a:ext cx="175596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latin typeface="Times New Roman" pitchFamily="18" charset="0"/>
                <a:cs typeface="Times New Roman" pitchFamily="18" charset="0"/>
              </a:rPr>
              <a:t>Electrosupply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7464" y="128606"/>
            <a:ext cx="9113839" cy="496888"/>
          </a:xfrm>
        </p:spPr>
        <p:txBody>
          <a:bodyPr/>
          <a:lstStyle/>
          <a:p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4. Basic engineering networks. </a:t>
            </a:r>
            <a:r>
              <a:rPr lang="en-US" dirty="0" smtClean="0">
                <a:latin typeface="Aharoni" panose="02010803020104030203" pitchFamily="2" charset="-79"/>
                <a:cs typeface="Aharoni" panose="02010803020104030203" pitchFamily="2" charset="-79"/>
              </a:rPr>
              <a:t>Description.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237464" y="832746"/>
            <a:ext cx="9355344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Power-supply of the facility 3.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he power supply is carried out as follows: Main power: substation # 2 "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Kraskovo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" RU-6 kV feeder 16B, RTP No. 14, the feeder direction for the TA-308 </a:t>
            </a:r>
            <a:r>
              <a:rPr lang="en-US" sz="1200" dirty="0" err="1">
                <a:latin typeface="Times New Roman" pitchFamily="18" charset="0"/>
                <a:cs typeface="Times New Roman" pitchFamily="18" charset="0"/>
              </a:rPr>
              <a:t>TA-308</a:t>
            </a: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. Power is supplied by overhead lines 3(A-50 mm2) up to the borders of balance accessory and operational responsibility. Connection to electric networks is carried out in the following points: 6 kV ТП249 – ТП307. The nominal voltage at the point of demarcation 6000 Volts. 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TP - 308 is connected to electrical networks with wires SIP-3(1х70) in length, 45 meters.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Allowed electrical capacity of 85 kVA. 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In the case of increasing the allowed electric power by the consumer will need: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- replace the transformer (100 kVA) for a more powerful. </a:t>
            </a:r>
          </a:p>
          <a:p>
            <a:pPr marL="171450" indent="-17145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en-US" sz="1200" dirty="0">
                <a:latin typeface="Times New Roman" pitchFamily="18" charset="0"/>
                <a:cs typeface="Times New Roman" pitchFamily="18" charset="0"/>
              </a:rPr>
              <a:t>- to increase the cross section SIP-3(1х70) overhead lines running a distance of 45 m.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494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>
                <a:latin typeface="Aharoni" panose="02010803020104030203" pitchFamily="2" charset="-79"/>
                <a:cs typeface="Aharoni" panose="02010803020104030203" pitchFamily="2" charset="-79"/>
              </a:rPr>
              <a:t>4.1</a:t>
            </a:r>
            <a:r>
              <a:rPr lang="en-US" dirty="0">
                <a:latin typeface="Aharoni" panose="02010803020104030203" pitchFamily="2" charset="-79"/>
                <a:cs typeface="Aharoni" panose="02010803020104030203" pitchFamily="2" charset="-79"/>
              </a:rPr>
              <a:t> communication Scheme</a:t>
            </a:r>
            <a:endParaRPr lang="ru-RU" dirty="0">
              <a:cs typeface="Aharoni" panose="02010803020104030203" pitchFamily="2" charset="-79"/>
            </a:endParaRPr>
          </a:p>
        </p:txBody>
      </p:sp>
      <p:pic>
        <p:nvPicPr>
          <p:cNvPr id="489474" name="Picture 2" descr="C:\Users\ANagornyy\Desktop\Буфер обмена01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909" y="795338"/>
            <a:ext cx="7858129" cy="5681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90000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1797" y="526012"/>
            <a:ext cx="9113839" cy="496888"/>
          </a:xfrm>
        </p:spPr>
        <p:txBody>
          <a:bodyPr/>
          <a:lstStyle/>
          <a:p>
            <a:r>
              <a:rPr lang="en-US" sz="3200" dirty="0">
                <a:latin typeface="Aharoni" panose="02010803020104030203" pitchFamily="2" charset="-79"/>
                <a:cs typeface="Aharoni" panose="02010803020104030203" pitchFamily="2" charset="-79"/>
              </a:rPr>
              <a:t>Satellite photo of the complex</a:t>
            </a:r>
            <a:r>
              <a:rPr lang="ru-RU" sz="3200" dirty="0" smtClean="0">
                <a:cs typeface="Aharoni" panose="02010803020104030203" pitchFamily="2" charset="-79"/>
              </a:rPr>
              <a:t/>
            </a:r>
            <a:br>
              <a:rPr lang="ru-RU" sz="3200" dirty="0" smtClean="0">
                <a:cs typeface="Aharoni" panose="02010803020104030203" pitchFamily="2" charset="-79"/>
              </a:rPr>
            </a:br>
            <a:endParaRPr lang="ru-RU" sz="3200" dirty="0">
              <a:cs typeface="Aharoni" panose="02010803020104030203" pitchFamily="2" charset="-79"/>
            </a:endParaRPr>
          </a:p>
        </p:txBody>
      </p:sp>
      <p:pic>
        <p:nvPicPr>
          <p:cNvPr id="489474" name="Picture 2" descr="C:\Users\ANagornyy\Desktop\sput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1" y="1309371"/>
            <a:ext cx="8692512" cy="4527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26571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49587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1037" y="817156"/>
            <a:ext cx="1212663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Entrance</a:t>
            </a: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380229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16943" y="817156"/>
            <a:ext cx="139613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Building Lit.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А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6518963" y="987229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517615" y="767634"/>
            <a:ext cx="211684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Production hall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248239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4951" y="3619671"/>
            <a:ext cx="118259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boiler house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3378881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21484" y="3623777"/>
            <a:ext cx="91924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Garage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6517615" y="3793805"/>
            <a:ext cx="3096000" cy="2484255"/>
          </a:xfrm>
          <a:prstGeom prst="rect">
            <a:avLst/>
          </a:prstGeom>
          <a:noFill/>
          <a:ln w="6350" cap="flat" cmpd="sng" algn="ctr">
            <a:solidFill>
              <a:srgbClr val="3B648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rgbClr val="3B6487"/>
              </a:solidFill>
              <a:effectLst/>
              <a:latin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642084" y="3636384"/>
            <a:ext cx="246517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Gas pipeline in the territory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248239" y="349650"/>
            <a:ext cx="9520991" cy="504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ＭＳ Ｐゴシック" pitchFamily="-110" charset="-128"/>
                <a:cs typeface="ＭＳ Ｐゴシック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  <a:ea typeface="ＭＳ Ｐゴシック" pitchFamily="-110" charset="-128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B6487"/>
                </a:solidFill>
                <a:latin typeface="Times New Roman" pitchFamily="18" charset="0"/>
              </a:defRPr>
            </a:lvl9pPr>
          </a:lstStyle>
          <a:p>
            <a:r>
              <a:rPr lang="en-US" kern="0" dirty="0"/>
              <a:t>Appendix 1. Photo.</a:t>
            </a:r>
            <a:endParaRPr lang="ru-RU" kern="0" dirty="0"/>
          </a:p>
        </p:txBody>
      </p:sp>
      <p:pic>
        <p:nvPicPr>
          <p:cNvPr id="489474" name="Picture 2" descr="C:\Users\ANagornyy\Desktop\asd\rti\IMG_0312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52" y="1124933"/>
            <a:ext cx="2880191" cy="2267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75" name="Picture 3" descr="C:\Users\ANagornyy\Desktop\asd\rti\IMG_031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561" y="1102977"/>
            <a:ext cx="2983602" cy="228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76" name="Picture 4" descr="C:\Users\ANagornyy\Desktop\asd\rti\IMG_033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150" y="1086423"/>
            <a:ext cx="2971035" cy="2306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78" name="Picture 6" descr="C:\Users\ANagornyy\Desktop\asd\rti\IMG_033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951" y="3973734"/>
            <a:ext cx="2852121" cy="217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79" name="Picture 7" descr="C:\Users\ANagornyy\Desktop\asd\rti\IMG_034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5595" y="3973735"/>
            <a:ext cx="2794958" cy="215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9480" name="Picture 8" descr="C:\Users\ANagornyy\Desktop\asd\rti\IMG_0337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084" y="3973735"/>
            <a:ext cx="2831222" cy="2179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8834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Yulia Klyushina\Downloads\Telegram Desktop\О стратегии АО РТИ v5.4 (301117).pptx"/>
  <p:tag name="THINKCELLPRESENTATIONDONOTDELETE" val="&lt;?xml version=&quot;1.0&quot; encoding=&quot;UTF-16&quot; standalone=&quot;yes&quot;?&gt;&lt;root reqver=&quot;24162&quot;&gt;&lt;version val=&quot;268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3.48252048900000055198E+00&quot;&gt;&lt;m_msothmcolidx val=&quot;0&quot;/&gt;&lt;m_rgb r=&quot;FF&quot; g=&quot;C0&quot; b=&quot;00&quot;/&gt;&lt;m_nBrightness tagver0=&quot;26206&quot; tagname0=&quot;m_nBrightnessUNRECOGNIZED&quot; val=&quot;0&quot;/&gt;&lt;/elem&gt;&lt;elem m_fUsage=&quot;1.44020511000000017710E+00&quot;&gt;&lt;m_msothmcolidx val=&quot;0&quot;/&gt;&lt;m_rgb r=&quot;92&quot; g=&quot;D0&quot; b=&quot;50&quot;/&gt;&lt;m_nBrightness tagver0=&quot;26206&quot; tagname0=&quot;m_nBrightnessUNRECOGNIZED&quot; val=&quot;0&quot;/&gt;&lt;/elem&gt;&lt;elem m_fUsage=&quot;1.00000000000000000000E+00&quot;&gt;&lt;m_msothmcolidx val=&quot;0&quot;/&gt;&lt;m_rgb r=&quot;7D&quot; g=&quot;7D&quot; b=&quot;7D&quot;/&gt;&lt;m_nBrightness tagver0=&quot;26206&quot; tagname0=&quot;m_nBrightnessUNRECOGNIZED&quot; val=&quot;0&quot;/&gt;&lt;/elem&gt;&lt;elem m_fUsage=&quot;9.39168440100000223580E-01&quot;&gt;&lt;m_msothmcolidx val=&quot;0&quot;/&gt;&lt;m_rgb r=&quot;B6&quot; g=&quot;DC&quot; b=&quot;FF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OePvYSF63t0ikXSkG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_AkOujTdisddAlKpPl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8jGZtuT7muROt0QB6i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_AkOujTdisddAlKpPlFw"/>
</p:tagLst>
</file>

<file path=ppt/theme/theme1.xml><?xml version="1.0" encoding="utf-8"?>
<a:theme xmlns:a="http://schemas.openxmlformats.org/drawingml/2006/main" name="1_blank">
  <a:themeElements>
    <a:clrScheme name="РТИ">
      <a:dk1>
        <a:sysClr val="windowText" lastClr="000000"/>
      </a:dk1>
      <a:lt1>
        <a:sysClr val="window" lastClr="FFFFFF"/>
      </a:lt1>
      <a:dk2>
        <a:srgbClr val="004A8F"/>
      </a:dk2>
      <a:lt2>
        <a:srgbClr val="82A3CA"/>
      </a:lt2>
      <a:accent1>
        <a:srgbClr val="3B6487"/>
      </a:accent1>
      <a:accent2>
        <a:srgbClr val="879DB3"/>
      </a:accent2>
      <a:accent3>
        <a:srgbClr val="B6C4CC"/>
      </a:accent3>
      <a:accent4>
        <a:srgbClr val="E8EBF0"/>
      </a:accent4>
      <a:accent5>
        <a:srgbClr val="008000"/>
      </a:accent5>
      <a:accent6>
        <a:srgbClr val="FF0000"/>
      </a:accent6>
      <a:hlink>
        <a:srgbClr val="0000FF"/>
      </a:hlink>
      <a:folHlink>
        <a:srgbClr val="800080"/>
      </a:folHlink>
    </a:clrScheme>
    <a:fontScheme name="РТИ/АФК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8EB4DA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91B6DB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3366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2D5C8A"/>
        </a:accent6>
        <a:hlink>
          <a:srgbClr val="B2B2B2"/>
        </a:hlink>
        <a:folHlink>
          <a:srgbClr val="84AD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EBF0"/>
        </a:accent1>
        <a:accent2>
          <a:srgbClr val="B6C4CC"/>
        </a:accent2>
        <a:accent3>
          <a:srgbClr val="FFFFFF"/>
        </a:accent3>
        <a:accent4>
          <a:srgbClr val="000000"/>
        </a:accent4>
        <a:accent5>
          <a:srgbClr val="F2F3F6"/>
        </a:accent5>
        <a:accent6>
          <a:srgbClr val="A5B1B9"/>
        </a:accent6>
        <a:hlink>
          <a:srgbClr val="879DB3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F0F8"/>
        </a:accent1>
        <a:accent2>
          <a:srgbClr val="CDDEEF"/>
        </a:accent2>
        <a:accent3>
          <a:srgbClr val="FFFFFF"/>
        </a:accent3>
        <a:accent4>
          <a:srgbClr val="000000"/>
        </a:accent4>
        <a:accent5>
          <a:srgbClr val="F2F6FB"/>
        </a:accent5>
        <a:accent6>
          <a:srgbClr val="BAC9D9"/>
        </a:accent6>
        <a:hlink>
          <a:srgbClr val="9DBEF8"/>
        </a:hlink>
        <a:folHlink>
          <a:srgbClr val="33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8EBF0"/>
        </a:accent1>
        <a:accent2>
          <a:srgbClr val="B6C4CC"/>
        </a:accent2>
        <a:accent3>
          <a:srgbClr val="FFFFFF"/>
        </a:accent3>
        <a:accent4>
          <a:srgbClr val="000000"/>
        </a:accent4>
        <a:accent5>
          <a:srgbClr val="F2F3F6"/>
        </a:accent5>
        <a:accent6>
          <a:srgbClr val="A5B1B9"/>
        </a:accent6>
        <a:hlink>
          <a:srgbClr val="879DB3"/>
        </a:hlink>
        <a:folHlink>
          <a:srgbClr val="3B648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Формат АО РТИ.pptx" id="{F6F02C73-1B0B-4B11-A5FC-5645462E3F3E}" vid="{F6FBF4AB-15AA-4AF8-B8D4-0201DBFF160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58</TotalTime>
  <Words>1168</Words>
  <Application>Microsoft Office PowerPoint</Application>
  <PresentationFormat>Лист A4 (210x297 мм)</PresentationFormat>
  <Paragraphs>87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ＭＳ Ｐゴシック</vt:lpstr>
      <vt:lpstr>Aharoni</vt:lpstr>
      <vt:lpstr>Calibri</vt:lpstr>
      <vt:lpstr>Century Schoolbook</vt:lpstr>
      <vt:lpstr>Monotype Corsiva</vt:lpstr>
      <vt:lpstr>Times New Roman</vt:lpstr>
      <vt:lpstr>Wingdings</vt:lpstr>
      <vt:lpstr>1_blank</vt:lpstr>
      <vt:lpstr>think-cell Slide</vt:lpstr>
      <vt:lpstr>INVESTMENT OPPORTUNITY: sale of production and warehouse complex at the address: moscow region, lyubertsy district, village tokarevo, building 1.</vt:lpstr>
      <vt:lpstr>The main parameters of the Object</vt:lpstr>
      <vt:lpstr>1. The location of the production and warehouse complex</vt:lpstr>
      <vt:lpstr>2. Key advantages of the production complex</vt:lpstr>
      <vt:lpstr>3. Plan-scheme</vt:lpstr>
      <vt:lpstr> 4. Basic engineering networks. Description. </vt:lpstr>
      <vt:lpstr>4.1 communication Scheme</vt:lpstr>
      <vt:lpstr>Satellite photo of the complex </vt:lpstr>
      <vt:lpstr> </vt:lpstr>
      <vt:lpstr>Презентация PowerPoint</vt:lpstr>
    </vt:vector>
  </TitlesOfParts>
  <Company>ОАО "РТИ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стратегии АО «РТИ»</dc:title>
  <dc:creator>Ворслав Денис Сергеевич</dc:creator>
  <cp:lastModifiedBy>.</cp:lastModifiedBy>
  <cp:revision>1204</cp:revision>
  <cp:lastPrinted>2018-09-26T11:50:10Z</cp:lastPrinted>
  <dcterms:created xsi:type="dcterms:W3CDTF">2017-11-03T11:21:57Z</dcterms:created>
  <dcterms:modified xsi:type="dcterms:W3CDTF">2019-09-23T15:39:05Z</dcterms:modified>
</cp:coreProperties>
</file>